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notesSlides/notesSlide7.xml" ContentType="application/vnd.openxmlformats-officedocument.presentationml.notesSlid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1787" r:id="rId2"/>
    <p:sldId id="686" r:id="rId3"/>
    <p:sldId id="475" r:id="rId4"/>
    <p:sldId id="1801" r:id="rId5"/>
    <p:sldId id="1796" r:id="rId6"/>
    <p:sldId id="1802" r:id="rId7"/>
    <p:sldId id="1790" r:id="rId8"/>
    <p:sldId id="1791" r:id="rId9"/>
    <p:sldId id="1798" r:id="rId10"/>
    <p:sldId id="1799" r:id="rId11"/>
    <p:sldId id="1794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78069" autoAdjust="0"/>
  </p:normalViewPr>
  <p:slideViewPr>
    <p:cSldViewPr snapToGrid="0">
      <p:cViewPr varScale="1">
        <p:scale>
          <a:sx n="49" d="100"/>
          <a:sy n="49" d="100"/>
        </p:scale>
        <p:origin x="1336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59F0FE-A469-45F4-B8DD-46C7B6DB2FA5}" type="datetimeFigureOut">
              <a:rPr lang="en-US" smtClean="0"/>
              <a:t>1/2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42EAA6-E36C-48C3-A44A-63382A387F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53331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ustralia’s housing crisis, largely hidden, is getting worse</a:t>
            </a:r>
          </a:p>
          <a:p>
            <a:r>
              <a:rPr lang="en-US" dirty="0"/>
              <a:t>https://finance.yahoo.com/news/australias-housing-crisis-largely-hidden-070415119.html?guccounter=1&amp;guce_referrer=aHR0cHM6Ly93d3cuZ29vZ2xlLmNvbS8&amp;guce_referrer_sig=AQAAAIeblSi7VEKUODbNCb9V4JDKGXyZJvlZsU_59oHV11iTLIA7Hz_-1hB6AIFjgR0hweoHP6PmFcHpz2DsQSW68EBJh7Ca8uaCkOsTQEnCZbUC_LqUkeBKCa_tS8VV1wWzrZfa3WtiOzj0sOeX1ZC88oJINHwQ2SiuGTf3YaZd73kv</a:t>
            </a:r>
          </a:p>
          <a:p>
            <a:endParaRPr lang="en-US" dirty="0"/>
          </a:p>
          <a:p>
            <a:r>
              <a:rPr lang="en-US" dirty="0" err="1"/>
              <a:t>Statistia</a:t>
            </a:r>
            <a:r>
              <a:rPr lang="en-US" dirty="0"/>
              <a:t> chart:</a:t>
            </a:r>
          </a:p>
          <a:p>
            <a:r>
              <a:rPr lang="en-US" dirty="0"/>
              <a:t>https://www.statista.com/chart/16902/places-where-its-hardest-to-afford-a-home/</a:t>
            </a:r>
          </a:p>
          <a:p>
            <a:endParaRPr lang="en-US" dirty="0"/>
          </a:p>
          <a:p>
            <a:r>
              <a:rPr lang="en-US" dirty="0"/>
              <a:t>Underquoting article title:</a:t>
            </a:r>
            <a:br>
              <a:rPr lang="en-US" dirty="0"/>
            </a:br>
            <a:r>
              <a:rPr lang="en-US" dirty="0"/>
              <a:t>https://www.theguardian.com/business/2022/aug/27/underquoting-in-australian-real-estate-industry-is-leaving-buyers-feeling-betrayed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POINTS TO COVER:</a:t>
            </a:r>
          </a:p>
          <a:p>
            <a:r>
              <a:rPr lang="en-US" dirty="0"/>
              <a:t>Australian citizens have difficulty finding housing.</a:t>
            </a:r>
          </a:p>
          <a:p>
            <a:r>
              <a:rPr lang="en-US" dirty="0"/>
              <a:t>Historically, Australia has had issues with housing affordability, seeing rising real estate prices over the past decade(s) or so. </a:t>
            </a:r>
          </a:p>
          <a:p>
            <a:r>
              <a:rPr lang="en-US" dirty="0"/>
              <a:t>This has made many Australian cities some of the least affordable places in the world.</a:t>
            </a:r>
          </a:p>
          <a:p>
            <a:r>
              <a:rPr lang="en-US" dirty="0"/>
              <a:t>Additionally, the real estate industry in Australia has rampant underquoting, which is to the </a:t>
            </a:r>
            <a:r>
              <a:rPr lang="en-US" dirty="0" err="1"/>
              <a:t>detremient</a:t>
            </a:r>
            <a:r>
              <a:rPr lang="en-US" dirty="0"/>
              <a:t> of buyers.</a:t>
            </a:r>
          </a:p>
          <a:p>
            <a:r>
              <a:rPr lang="en-US" dirty="0"/>
              <a:t>They go out and look at these properties, but eventually find out that the true value is beyond their price point.</a:t>
            </a:r>
          </a:p>
          <a:p>
            <a:endParaRPr lang="en-US" dirty="0"/>
          </a:p>
          <a:p>
            <a:r>
              <a:rPr lang="en-US" dirty="0"/>
              <a:t>By using a model, a buyer can look at the characteristics of a property in a listing and estimate the true price; better informed, find properties at a discount, find properties that fit their requiremen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42EAA6-E36C-48C3-A44A-63382A387F3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7874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42EAA6-E36C-48C3-A44A-63382A387F3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96562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7 selected features, one target (price)</a:t>
            </a:r>
            <a:br>
              <a:rPr lang="en-US" dirty="0"/>
            </a:br>
            <a:br>
              <a:rPr lang="en-US" dirty="0"/>
            </a:br>
            <a:r>
              <a:rPr lang="en-US" dirty="0"/>
              <a:t>Building/land size- important in property valuations</a:t>
            </a:r>
          </a:p>
          <a:p>
            <a:endParaRPr lang="en-US" dirty="0"/>
          </a:p>
          <a:p>
            <a:r>
              <a:rPr lang="en-US" dirty="0"/>
              <a:t>Bedrooms/Bathrooms/Parking spaces – amenities which increase property value</a:t>
            </a:r>
          </a:p>
          <a:p>
            <a:endParaRPr lang="en-US" dirty="0"/>
          </a:p>
          <a:p>
            <a:r>
              <a:rPr lang="en-US" dirty="0"/>
              <a:t>Property type- house is not going to be priced the same as an apartment</a:t>
            </a:r>
          </a:p>
          <a:p>
            <a:endParaRPr lang="en-US" dirty="0"/>
          </a:p>
          <a:p>
            <a:r>
              <a:rPr lang="en-US" dirty="0"/>
              <a:t>Product depth- premium products not priced the same as a standard version of 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42EAA6-E36C-48C3-A44A-63382A387F3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49726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taset – 1000 house listings </a:t>
            </a:r>
            <a:r>
              <a:rPr lang="en-US" dirty="0" err="1"/>
              <a:t>publically</a:t>
            </a:r>
            <a:r>
              <a:rPr lang="en-US" dirty="0"/>
              <a:t> available from Kaggle</a:t>
            </a:r>
          </a:p>
          <a:p>
            <a:r>
              <a:rPr lang="en-US" dirty="0"/>
              <a:t>After cleaning process – approximately 800 observations</a:t>
            </a:r>
          </a:p>
          <a:p>
            <a:endParaRPr lang="en-US" dirty="0"/>
          </a:p>
          <a:p>
            <a:r>
              <a:rPr lang="en-US" dirty="0"/>
              <a:t>Cleaning (land and building size, price)</a:t>
            </a:r>
          </a:p>
          <a:p>
            <a:r>
              <a:rPr lang="en-US" dirty="0"/>
              <a:t>Imputation of land, building, price according to property type</a:t>
            </a:r>
          </a:p>
          <a:p>
            <a:endParaRPr lang="en-US" dirty="0"/>
          </a:p>
          <a:p>
            <a:r>
              <a:rPr lang="en-US" dirty="0"/>
              <a:t>Preprocessing (scaling data + encoding property type and product depth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42EAA6-E36C-48C3-A44A-63382A387F3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81938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42EAA6-E36C-48C3-A44A-63382A387F3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0889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42EAA6-E36C-48C3-A44A-63382A387F3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86918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ther statistics:</a:t>
            </a:r>
          </a:p>
          <a:p>
            <a:r>
              <a:rPr lang="en-US" dirty="0"/>
              <a:t>Most prevalent housing types: houses, units (375, 221)</a:t>
            </a:r>
          </a:p>
          <a:p>
            <a:r>
              <a:rPr lang="en-US" dirty="0"/>
              <a:t>Most prevalent product depth (variant): premiere (563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42EAA6-E36C-48C3-A44A-63382A387F3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12972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087494-112F-441C-9757-76177A979D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E47B8A-AD70-4CB5-B782-D5D5A00142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595AA2-E535-48C2-AA6E-83B0945328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9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281A83-6AC8-431E-807F-29555CCC73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BB5140-399F-42B5-A5A7-1B0F64D49F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22045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175C91-DA85-40A0-923D-6649F35166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0693BC5-7478-4BA7-A7D2-0E83C0D0494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98DA0A-8A27-41A9-ABC5-901FF1C36D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9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255A88-0462-4375-985C-07AE76946B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1EF3D6-6A48-43C6-96F8-B251C39D7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25864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5A6887C-6591-43AE-BF02-753551CE4F6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F262192-13C4-4BA7-B2F3-3BEE032812D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57DCCC-84D1-4056-BE7A-0B20F91988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9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A81E5C-9E70-4B81-89BA-C43DA2146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A9EF9B-80BC-478D-A028-3F2C75D0B1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31846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accent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52036753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6235519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162DA3-AF96-4D84-9875-39AF4780E4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1D4BE9-4578-4706-88CF-FABA4F055C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E799DC-0F11-4A6B-B52D-932339FFE7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9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26D1A1-AEBC-4D60-9EDC-F1CA17B467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59012C-D21D-4CF7-9FE1-5E7CEB3994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5086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A919A7-CABC-4249-8895-3E8E46AD08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4907AE-F6A2-46C8-829C-6C4873143C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B39822-80F7-433D-B3AB-FAA7B8E37A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9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A19E88-DB67-4CD2-AFDB-402F8325D3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00CAB1-67C2-4A5B-B81C-8EA3F15D9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24078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5C2A29-D151-4F22-B699-0DB5F1C819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30B8AB-FBF4-40FF-AB6F-7DD9FB621F3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279285D-5049-428E-9A50-93C45145518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E6078F5-0305-4469-B1E0-7FB95900F7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9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71FC200-4C0D-4F11-8663-9BEACE874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718211-F8AA-4E15-9F8D-A53C239EF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94858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E4F6FB-A53C-45D3-92D2-903909D10D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D27B64-06EA-4D4F-974F-0AA560F952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6DEE9A4-23A3-4998-A5EE-1A76E057BE6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05F474-D6E6-4ABD-8126-803750523DC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9E495E1-7176-4B4F-81EC-A7BB2D1FC26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914AC00-7D82-48BC-A925-FA1111AA3E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9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2EF538E-D472-4E94-8C25-8531CCF824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389E402-69ED-439E-BAC3-4D3F05E00A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18654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385C39-0815-4C84-8F64-C44BB6BC2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2205AA8-17E8-489A-8825-54D337E7AF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9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96EC63-9256-403B-86EE-B7D3191EA8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3E920E-7412-4DA3-B0F4-C4E16F0A4D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61558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9CD91C2-2A66-4109-8664-E31F7D4AB2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9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46346DF-2F4E-4F12-ADE7-7B00ECA3BE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BD731A-06D8-404A-A2B8-DC342F3F9E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87379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8C7F8A-068F-4CC7-897E-D7536B0653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058B5-E56E-405D-9BE6-E23DA8E9C5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5E76B0-ACC0-4C13-90DD-2EA95650E96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45F4F24-31D9-47E5-86A7-1825602ECB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9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5C64AA4-4946-403E-85BB-DA97F43EC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AF9B207-29DC-49AE-BC32-75F7BFFF4B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17489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3DFD56-6C83-48BF-A8D7-193ED60A6F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48C96FF-73EB-40CB-B8E4-24BE0FF19C7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AA376B-3B59-4195-A8A8-9DC3BC6FAB6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444A2A0-FC5E-416C-9F1C-FAF93EF99F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9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738816-8DCC-4D5E-B2FA-A27DB36445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E59E9F-8273-44AC-9B27-2E030684FF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62128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F07D1-1A1D-47D7-A6A6-356F2024FC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B6249D-ACAE-4C58-B310-0F7458914C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DDF478-9029-4C3A-A555-6F633BBADF6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5220F4-79C4-49BC-8362-2E5A1EA197D9}" type="datetimeFigureOut">
              <a:rPr lang="en-US" smtClean="0"/>
              <a:t>1/29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E1A4E4-9AD1-4A67-80EB-D99ED306E4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954202-37C9-4B24-B566-225D677E8F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BAC6F458-E700-4643-AD00-D1A3BA9532F1}"/>
              </a:ext>
            </a:extLst>
          </p:cNvPr>
          <p:cNvSpPr txBox="1"/>
          <p:nvPr userDrawn="1"/>
        </p:nvSpPr>
        <p:spPr>
          <a:xfrm>
            <a:off x="6336000" y="6477000"/>
            <a:ext cx="4896560" cy="138499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r" defTabSz="914400" rtl="0" eaLnBrk="1" latinLnBrk="0" hangingPunct="1">
              <a:buFontTx/>
              <a:buNone/>
            </a:pPr>
            <a:r>
              <a:rPr lang="en-US" sz="900" b="0">
                <a:solidFill>
                  <a:schemeClr val="tx1"/>
                </a:solidFill>
                <a:latin typeface="+mn-lt"/>
              </a:rPr>
              <a:t>AI Academy Apprenticeship Capstone</a:t>
            </a:r>
          </a:p>
        </p:txBody>
      </p:sp>
    </p:spTree>
    <p:extLst>
      <p:ext uri="{BB962C8B-B14F-4D97-AF65-F5344CB8AC3E}">
        <p14:creationId xmlns:p14="http://schemas.microsoft.com/office/powerpoint/2010/main" val="1872057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C2F03B24-5911-487D-A541-83315BB922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1650" y="4659037"/>
            <a:ext cx="4446269" cy="1571835"/>
          </a:xfrm>
        </p:spPr>
        <p:txBody>
          <a:bodyPr/>
          <a:lstStyle/>
          <a:p>
            <a:r>
              <a:rPr lang="en-US" dirty="0"/>
              <a:t>Home in the Outback: Predicting Housing Prices in Australia</a:t>
            </a:r>
            <a:br>
              <a:rPr lang="en-US" dirty="0"/>
            </a:br>
            <a:r>
              <a:rPr lang="en-US" sz="1800" dirty="0"/>
              <a:t>Andrew Yang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17207E-7FD3-4B75-ADFE-CC565F8DB8A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pPr marL="0" indent="0">
              <a:buNone/>
            </a:pPr>
            <a:r>
              <a:rPr lang="en-US" dirty="0"/>
              <a:t>January 2023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4091ED7-C412-487B-88AC-F1B76F6BA2F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94852" y="5659120"/>
            <a:ext cx="1198880" cy="1198880"/>
          </a:xfrm>
          <a:prstGeom prst="rect">
            <a:avLst/>
          </a:prstGeom>
        </p:spPr>
      </p:pic>
      <p:pic>
        <p:nvPicPr>
          <p:cNvPr id="10" name="Picture Placeholder 9" descr="Aerial view of suburb, showing houses, lawns, and trees">
            <a:extLst>
              <a:ext uri="{FF2B5EF4-FFF2-40B4-BE49-F238E27FC236}">
                <a16:creationId xmlns:a16="http://schemas.microsoft.com/office/drawing/2014/main" id="{EA366287-5C19-4A65-BA0C-31878EFE8C2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4" r="16634"/>
          <a:stretch/>
        </p:blipFill>
        <p:spPr>
          <a:xfrm>
            <a:off x="4080044" y="711295"/>
            <a:ext cx="4031911" cy="4031911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395691542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FA0C95-7B5D-462C-BF40-F73173CA60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ing &amp; Evaluation</a:t>
            </a:r>
          </a:p>
        </p:txBody>
      </p:sp>
      <p:graphicFrame>
        <p:nvGraphicFramePr>
          <p:cNvPr id="4" name="Group 3">
            <a:extLst>
              <a:ext uri="{FF2B5EF4-FFF2-40B4-BE49-F238E27FC236}">
                <a16:creationId xmlns:a16="http://schemas.microsoft.com/office/drawing/2014/main" id="{0622D4F3-E8B8-4B78-AA88-97843B289AE5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7771771"/>
              </p:ext>
            </p:extLst>
          </p:nvPr>
        </p:nvGraphicFramePr>
        <p:xfrm>
          <a:off x="2535554" y="1690688"/>
          <a:ext cx="7120888" cy="3194821"/>
        </p:xfrm>
        <a:graphic>
          <a:graphicData uri="http://schemas.openxmlformats.org/drawingml/2006/table">
            <a:tbl>
              <a:tblPr/>
              <a:tblGrid>
                <a:gridCol w="43159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0491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02893">
                <a:tc>
                  <a:txBody>
                    <a:bodyPr/>
                    <a:lstStyle/>
                    <a:p>
                      <a:pPr algn="l"/>
                      <a:r>
                        <a:rPr lang="en-US" sz="2400" b="0" dirty="0">
                          <a:solidFill>
                            <a:schemeClr val="accent1"/>
                          </a:solidFill>
                        </a:rPr>
                        <a:t>Model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0" dirty="0">
                          <a:solidFill>
                            <a:schemeClr val="accent1"/>
                          </a:solidFill>
                        </a:rPr>
                        <a:t>RSME (AUD)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22399">
                <a:tc>
                  <a:txBody>
                    <a:bodyPr/>
                    <a:lstStyle/>
                    <a:p>
                      <a:pPr algn="l"/>
                      <a:r>
                        <a:rPr lang="en-US" sz="2400" b="0" dirty="0">
                          <a:solidFill>
                            <a:schemeClr val="dk1"/>
                          </a:solidFill>
                          <a:effectLst/>
                        </a:rPr>
                        <a:t>Baseline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dk1"/>
                          </a:solidFill>
                          <a:effectLst/>
                        </a:rPr>
                        <a:t>124,670.31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22399">
                <a:tc>
                  <a:txBody>
                    <a:bodyPr/>
                    <a:lstStyle/>
                    <a:p>
                      <a:pPr algn="l"/>
                      <a:r>
                        <a:rPr lang="en-US" sz="2400" b="0" dirty="0">
                          <a:solidFill>
                            <a:schemeClr val="dk1"/>
                          </a:solidFill>
                          <a:effectLst/>
                        </a:rPr>
                        <a:t>Decision Tree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dk1"/>
                          </a:solidFill>
                          <a:effectLst/>
                        </a:rPr>
                        <a:t>94,997.47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22399">
                <a:tc>
                  <a:txBody>
                    <a:bodyPr/>
                    <a:lstStyle/>
                    <a:p>
                      <a:pPr algn="l"/>
                      <a:r>
                        <a:rPr lang="en-US" sz="2400" b="0" dirty="0">
                          <a:solidFill>
                            <a:schemeClr val="dk1"/>
                          </a:solidFill>
                          <a:effectLst/>
                        </a:rPr>
                        <a:t>Gradient Boosting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dk1"/>
                          </a:solidFill>
                          <a:effectLst/>
                        </a:rPr>
                        <a:t>87,969.37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24731">
                <a:tc>
                  <a:txBody>
                    <a:bodyPr/>
                    <a:lstStyle/>
                    <a:p>
                      <a:pPr algn="l"/>
                      <a:r>
                        <a:rPr lang="en-US" sz="2400" b="0" dirty="0">
                          <a:solidFill>
                            <a:schemeClr val="dk1"/>
                          </a:solidFill>
                          <a:effectLst/>
                        </a:rPr>
                        <a:t>Gradient Boosting (subsampled)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dk1"/>
                          </a:solidFill>
                          <a:effectLst/>
                        </a:rPr>
                        <a:t>85,967.02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E14D9D21-4B95-4CC0-83B0-54EC56387342}"/>
              </a:ext>
            </a:extLst>
          </p:cNvPr>
          <p:cNvSpPr txBox="1"/>
          <p:nvPr/>
        </p:nvSpPr>
        <p:spPr>
          <a:xfrm>
            <a:off x="3670983" y="5489501"/>
            <a:ext cx="48500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able 2: Comparison of model test performance.</a:t>
            </a:r>
          </a:p>
        </p:txBody>
      </p:sp>
    </p:spTree>
    <p:extLst>
      <p:ext uri="{BB962C8B-B14F-4D97-AF65-F5344CB8AC3E}">
        <p14:creationId xmlns:p14="http://schemas.microsoft.com/office/powerpoint/2010/main" val="27470763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FA0C95-7B5D-462C-BF40-F73173CA60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F527DAC-AB39-4700-81BE-57A8EB12F4FA}"/>
              </a:ext>
            </a:extLst>
          </p:cNvPr>
          <p:cNvSpPr/>
          <p:nvPr/>
        </p:nvSpPr>
        <p:spPr>
          <a:xfrm>
            <a:off x="1286540" y="1690688"/>
            <a:ext cx="10207255" cy="1415626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62000" tIns="54000" rIns="72000" bIns="54000" anchor="ctr">
            <a:noAutofit/>
          </a:bodyPr>
          <a:lstStyle/>
          <a:p>
            <a:r>
              <a:rPr lang="en-US" sz="2000" dirty="0"/>
              <a:t>On average, the best model predicts the true value of Australian housing within 85,967.02 AUD.</a:t>
            </a:r>
          </a:p>
          <a:p>
            <a:r>
              <a:rPr lang="en-US" sz="2000" dirty="0"/>
              <a:t>This is an approximately 31% improvement in performance compared to the baseline.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D48D75F-F9AB-46F2-95EB-4A4F1F22EA9A}"/>
              </a:ext>
            </a:extLst>
          </p:cNvPr>
          <p:cNvSpPr/>
          <p:nvPr/>
        </p:nvSpPr>
        <p:spPr bwMode="gray">
          <a:xfrm>
            <a:off x="830935" y="2124181"/>
            <a:ext cx="548640" cy="54864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IE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8" name="Pentagon 23">
            <a:extLst>
              <a:ext uri="{FF2B5EF4-FFF2-40B4-BE49-F238E27FC236}">
                <a16:creationId xmlns:a16="http://schemas.microsoft.com/office/drawing/2014/main" id="{7EDC94E0-E81B-47D7-ADE2-0F602D2EA0E8}"/>
              </a:ext>
            </a:extLst>
          </p:cNvPr>
          <p:cNvSpPr/>
          <p:nvPr/>
        </p:nvSpPr>
        <p:spPr bwMode="gray">
          <a:xfrm>
            <a:off x="1455775" y="3539807"/>
            <a:ext cx="3678240" cy="82296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000" dirty="0"/>
              <a:t>Limitations</a:t>
            </a:r>
          </a:p>
        </p:txBody>
      </p:sp>
      <p:sp>
        <p:nvSpPr>
          <p:cNvPr id="9" name="Pentagon 23">
            <a:extLst>
              <a:ext uri="{FF2B5EF4-FFF2-40B4-BE49-F238E27FC236}">
                <a16:creationId xmlns:a16="http://schemas.microsoft.com/office/drawing/2014/main" id="{038ACF5E-7049-4D35-A55A-939BD2C321CC}"/>
              </a:ext>
            </a:extLst>
          </p:cNvPr>
          <p:cNvSpPr/>
          <p:nvPr/>
        </p:nvSpPr>
        <p:spPr bwMode="gray">
          <a:xfrm>
            <a:off x="7057985" y="3539807"/>
            <a:ext cx="3678240" cy="82296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000" dirty="0"/>
              <a:t>Future Improvement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24DB62B-2754-4803-8F41-92E4F56419C8}"/>
              </a:ext>
            </a:extLst>
          </p:cNvPr>
          <p:cNvSpPr txBox="1">
            <a:spLocks/>
          </p:cNvSpPr>
          <p:nvPr/>
        </p:nvSpPr>
        <p:spPr bwMode="gray">
          <a:xfrm>
            <a:off x="1455775" y="4633500"/>
            <a:ext cx="5760720" cy="16194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  <a:defRPr/>
            </a:pPr>
            <a:r>
              <a:rPr lang="en-US" sz="1600" dirty="0"/>
              <a:t>Listing data is subject to underquoting.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  <a:defRPr/>
            </a:pPr>
            <a:r>
              <a:rPr lang="en-US" sz="1600" dirty="0"/>
              <a:t>Small public dataset (1000 listings)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  <a:defRPr/>
            </a:pPr>
            <a:r>
              <a:rPr lang="en-US" sz="1600" dirty="0"/>
              <a:t>Inability to implement geographic information.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AB44654-0410-4205-A9D3-9FBAC3C00D20}"/>
              </a:ext>
            </a:extLst>
          </p:cNvPr>
          <p:cNvSpPr txBox="1">
            <a:spLocks/>
          </p:cNvSpPr>
          <p:nvPr/>
        </p:nvSpPr>
        <p:spPr bwMode="gray">
          <a:xfrm>
            <a:off x="7057985" y="4633500"/>
            <a:ext cx="5760720" cy="14156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  <a:defRPr/>
            </a:pPr>
            <a:r>
              <a:rPr lang="en-US" sz="1600" dirty="0"/>
              <a:t>Use sold housing data for true property value.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  <a:defRPr/>
            </a:pPr>
            <a:r>
              <a:rPr lang="en-US" sz="1600" dirty="0"/>
              <a:t>Implement neural networks on a larger dataset.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  <a:defRPr/>
            </a:pPr>
            <a:r>
              <a:rPr lang="en-US" sz="1600" dirty="0"/>
              <a:t>Investigate the effects listing agencies have on pricing.</a:t>
            </a:r>
          </a:p>
        </p:txBody>
      </p:sp>
    </p:spTree>
    <p:extLst>
      <p:ext uri="{BB962C8B-B14F-4D97-AF65-F5344CB8AC3E}">
        <p14:creationId xmlns:p14="http://schemas.microsoft.com/office/powerpoint/2010/main" val="9184533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CA5DDA99-49DA-43F0-B225-71B56FCCEA9A}"/>
              </a:ext>
            </a:extLst>
          </p:cNvPr>
          <p:cNvGrpSpPr/>
          <p:nvPr/>
        </p:nvGrpSpPr>
        <p:grpSpPr>
          <a:xfrm>
            <a:off x="1516320" y="1095728"/>
            <a:ext cx="9159359" cy="4666544"/>
            <a:chOff x="1516320" y="1487212"/>
            <a:chExt cx="9159359" cy="4666544"/>
          </a:xfrm>
        </p:grpSpPr>
        <p:sp>
          <p:nvSpPr>
            <p:cNvPr id="5" name="Oval 4"/>
            <p:cNvSpPr>
              <a:spLocks noChangeAspect="1"/>
            </p:cNvSpPr>
            <p:nvPr/>
          </p:nvSpPr>
          <p:spPr bwMode="gray">
            <a:xfrm>
              <a:off x="1516320" y="1487214"/>
              <a:ext cx="2162871" cy="2162871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 algn="ctr">
                <a:buFont typeface="Wingdings 2" pitchFamily="18" charset="2"/>
                <a:buNone/>
              </a:pPr>
              <a:r>
                <a:rPr lang="en-GB" sz="4400" dirty="0">
                  <a:solidFill>
                    <a:schemeClr val="bg1"/>
                  </a:solidFill>
                </a:rPr>
                <a:t>1</a:t>
              </a:r>
            </a:p>
            <a:p>
              <a:pPr algn="ctr">
                <a:buFont typeface="Wingdings 2" pitchFamily="18" charset="2"/>
                <a:buNone/>
              </a:pPr>
              <a:r>
                <a:rPr lang="en-GB" sz="1400" dirty="0">
                  <a:solidFill>
                    <a:schemeClr val="bg1"/>
                  </a:solidFill>
                </a:rPr>
                <a:t>Business Understanding</a:t>
              </a:r>
            </a:p>
          </p:txBody>
        </p:sp>
        <p:grpSp>
          <p:nvGrpSpPr>
            <p:cNvPr id="6" name="Group 5"/>
            <p:cNvGrpSpPr>
              <a:grpSpLocks noChangeAspect="1"/>
            </p:cNvGrpSpPr>
            <p:nvPr/>
          </p:nvGrpSpPr>
          <p:grpSpPr bwMode="auto">
            <a:xfrm>
              <a:off x="4146371" y="2328033"/>
              <a:ext cx="481231" cy="481231"/>
              <a:chOff x="3852" y="1696"/>
              <a:chExt cx="340" cy="340"/>
            </a:xfrm>
            <a:solidFill>
              <a:schemeClr val="accent6"/>
            </a:solidFill>
          </p:grpSpPr>
          <p:sp>
            <p:nvSpPr>
              <p:cNvPr id="7" name="Freeform 236"/>
              <p:cNvSpPr>
                <a:spLocks/>
              </p:cNvSpPr>
              <p:nvPr/>
            </p:nvSpPr>
            <p:spPr bwMode="auto">
              <a:xfrm>
                <a:off x="3916" y="1802"/>
                <a:ext cx="212" cy="128"/>
              </a:xfrm>
              <a:custGeom>
                <a:avLst/>
                <a:gdLst>
                  <a:gd name="T0" fmla="*/ 319 w 320"/>
                  <a:gd name="T1" fmla="*/ 101 h 193"/>
                  <a:gd name="T2" fmla="*/ 319 w 320"/>
                  <a:gd name="T3" fmla="*/ 93 h 193"/>
                  <a:gd name="T4" fmla="*/ 317 w 320"/>
                  <a:gd name="T5" fmla="*/ 89 h 193"/>
                  <a:gd name="T6" fmla="*/ 231 w 320"/>
                  <a:gd name="T7" fmla="*/ 4 h 193"/>
                  <a:gd name="T8" fmla="*/ 216 w 320"/>
                  <a:gd name="T9" fmla="*/ 4 h 193"/>
                  <a:gd name="T10" fmla="*/ 216 w 320"/>
                  <a:gd name="T11" fmla="*/ 19 h 193"/>
                  <a:gd name="T12" fmla="*/ 283 w 320"/>
                  <a:gd name="T13" fmla="*/ 86 h 193"/>
                  <a:gd name="T14" fmla="*/ 10 w 320"/>
                  <a:gd name="T15" fmla="*/ 86 h 193"/>
                  <a:gd name="T16" fmla="*/ 0 w 320"/>
                  <a:gd name="T17" fmla="*/ 97 h 193"/>
                  <a:gd name="T18" fmla="*/ 10 w 320"/>
                  <a:gd name="T19" fmla="*/ 107 h 193"/>
                  <a:gd name="T20" fmla="*/ 283 w 320"/>
                  <a:gd name="T21" fmla="*/ 107 h 193"/>
                  <a:gd name="T22" fmla="*/ 216 w 320"/>
                  <a:gd name="T23" fmla="*/ 174 h 193"/>
                  <a:gd name="T24" fmla="*/ 216 w 320"/>
                  <a:gd name="T25" fmla="*/ 190 h 193"/>
                  <a:gd name="T26" fmla="*/ 224 w 320"/>
                  <a:gd name="T27" fmla="*/ 193 h 193"/>
                  <a:gd name="T28" fmla="*/ 231 w 320"/>
                  <a:gd name="T29" fmla="*/ 190 h 193"/>
                  <a:gd name="T30" fmla="*/ 317 w 320"/>
                  <a:gd name="T31" fmla="*/ 104 h 193"/>
                  <a:gd name="T32" fmla="*/ 319 w 320"/>
                  <a:gd name="T33" fmla="*/ 101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20" h="193">
                    <a:moveTo>
                      <a:pt x="319" y="101"/>
                    </a:moveTo>
                    <a:cubicBezTo>
                      <a:pt x="320" y="98"/>
                      <a:pt x="320" y="95"/>
                      <a:pt x="319" y="93"/>
                    </a:cubicBezTo>
                    <a:cubicBezTo>
                      <a:pt x="318" y="91"/>
                      <a:pt x="318" y="90"/>
                      <a:pt x="317" y="89"/>
                    </a:cubicBezTo>
                    <a:cubicBezTo>
                      <a:pt x="231" y="4"/>
                      <a:pt x="231" y="4"/>
                      <a:pt x="231" y="4"/>
                    </a:cubicBezTo>
                    <a:cubicBezTo>
                      <a:pt x="227" y="0"/>
                      <a:pt x="220" y="0"/>
                      <a:pt x="216" y="4"/>
                    </a:cubicBezTo>
                    <a:cubicBezTo>
                      <a:pt x="212" y="8"/>
                      <a:pt x="212" y="15"/>
                      <a:pt x="216" y="19"/>
                    </a:cubicBezTo>
                    <a:cubicBezTo>
                      <a:pt x="283" y="86"/>
                      <a:pt x="283" y="86"/>
                      <a:pt x="283" y="86"/>
                    </a:cubicBezTo>
                    <a:cubicBezTo>
                      <a:pt x="10" y="86"/>
                      <a:pt x="10" y="86"/>
                      <a:pt x="10" y="86"/>
                    </a:cubicBezTo>
                    <a:cubicBezTo>
                      <a:pt x="4" y="86"/>
                      <a:pt x="0" y="91"/>
                      <a:pt x="0" y="97"/>
                    </a:cubicBezTo>
                    <a:cubicBezTo>
                      <a:pt x="0" y="103"/>
                      <a:pt x="4" y="107"/>
                      <a:pt x="10" y="107"/>
                    </a:cubicBezTo>
                    <a:cubicBezTo>
                      <a:pt x="283" y="107"/>
                      <a:pt x="283" y="107"/>
                      <a:pt x="283" y="107"/>
                    </a:cubicBezTo>
                    <a:cubicBezTo>
                      <a:pt x="216" y="174"/>
                      <a:pt x="216" y="174"/>
                      <a:pt x="216" y="174"/>
                    </a:cubicBezTo>
                    <a:cubicBezTo>
                      <a:pt x="212" y="179"/>
                      <a:pt x="212" y="185"/>
                      <a:pt x="216" y="190"/>
                    </a:cubicBezTo>
                    <a:cubicBezTo>
                      <a:pt x="218" y="192"/>
                      <a:pt x="221" y="193"/>
                      <a:pt x="224" y="193"/>
                    </a:cubicBezTo>
                    <a:cubicBezTo>
                      <a:pt x="226" y="193"/>
                      <a:pt x="229" y="192"/>
                      <a:pt x="231" y="190"/>
                    </a:cubicBezTo>
                    <a:cubicBezTo>
                      <a:pt x="317" y="104"/>
                      <a:pt x="317" y="104"/>
                      <a:pt x="317" y="104"/>
                    </a:cubicBezTo>
                    <a:cubicBezTo>
                      <a:pt x="318" y="103"/>
                      <a:pt x="318" y="102"/>
                      <a:pt x="319" y="10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GB"/>
              </a:p>
            </p:txBody>
          </p:sp>
          <p:sp>
            <p:nvSpPr>
              <p:cNvPr id="8" name="Freeform 237"/>
              <p:cNvSpPr>
                <a:spLocks noEditPoints="1"/>
              </p:cNvSpPr>
              <p:nvPr/>
            </p:nvSpPr>
            <p:spPr bwMode="auto">
              <a:xfrm>
                <a:off x="3852" y="1696"/>
                <a:ext cx="340" cy="34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GB"/>
              </a:p>
            </p:txBody>
          </p:sp>
        </p:grpSp>
        <p:grpSp>
          <p:nvGrpSpPr>
            <p:cNvPr id="21" name="Group 20"/>
            <p:cNvGrpSpPr>
              <a:grpSpLocks noChangeAspect="1"/>
            </p:cNvGrpSpPr>
            <p:nvPr/>
          </p:nvGrpSpPr>
          <p:grpSpPr bwMode="auto">
            <a:xfrm>
              <a:off x="7604506" y="2328033"/>
              <a:ext cx="481231" cy="481231"/>
              <a:chOff x="3852" y="1696"/>
              <a:chExt cx="340" cy="340"/>
            </a:xfrm>
            <a:solidFill>
              <a:schemeClr val="accent6"/>
            </a:solidFill>
          </p:grpSpPr>
          <p:sp>
            <p:nvSpPr>
              <p:cNvPr id="22" name="Freeform 236"/>
              <p:cNvSpPr>
                <a:spLocks/>
              </p:cNvSpPr>
              <p:nvPr/>
            </p:nvSpPr>
            <p:spPr bwMode="auto">
              <a:xfrm>
                <a:off x="3916" y="1802"/>
                <a:ext cx="212" cy="128"/>
              </a:xfrm>
              <a:custGeom>
                <a:avLst/>
                <a:gdLst>
                  <a:gd name="T0" fmla="*/ 319 w 320"/>
                  <a:gd name="T1" fmla="*/ 101 h 193"/>
                  <a:gd name="T2" fmla="*/ 319 w 320"/>
                  <a:gd name="T3" fmla="*/ 93 h 193"/>
                  <a:gd name="T4" fmla="*/ 317 w 320"/>
                  <a:gd name="T5" fmla="*/ 89 h 193"/>
                  <a:gd name="T6" fmla="*/ 231 w 320"/>
                  <a:gd name="T7" fmla="*/ 4 h 193"/>
                  <a:gd name="T8" fmla="*/ 216 w 320"/>
                  <a:gd name="T9" fmla="*/ 4 h 193"/>
                  <a:gd name="T10" fmla="*/ 216 w 320"/>
                  <a:gd name="T11" fmla="*/ 19 h 193"/>
                  <a:gd name="T12" fmla="*/ 283 w 320"/>
                  <a:gd name="T13" fmla="*/ 86 h 193"/>
                  <a:gd name="T14" fmla="*/ 10 w 320"/>
                  <a:gd name="T15" fmla="*/ 86 h 193"/>
                  <a:gd name="T16" fmla="*/ 0 w 320"/>
                  <a:gd name="T17" fmla="*/ 97 h 193"/>
                  <a:gd name="T18" fmla="*/ 10 w 320"/>
                  <a:gd name="T19" fmla="*/ 107 h 193"/>
                  <a:gd name="T20" fmla="*/ 283 w 320"/>
                  <a:gd name="T21" fmla="*/ 107 h 193"/>
                  <a:gd name="T22" fmla="*/ 216 w 320"/>
                  <a:gd name="T23" fmla="*/ 174 h 193"/>
                  <a:gd name="T24" fmla="*/ 216 w 320"/>
                  <a:gd name="T25" fmla="*/ 190 h 193"/>
                  <a:gd name="T26" fmla="*/ 224 w 320"/>
                  <a:gd name="T27" fmla="*/ 193 h 193"/>
                  <a:gd name="T28" fmla="*/ 231 w 320"/>
                  <a:gd name="T29" fmla="*/ 190 h 193"/>
                  <a:gd name="T30" fmla="*/ 317 w 320"/>
                  <a:gd name="T31" fmla="*/ 104 h 193"/>
                  <a:gd name="T32" fmla="*/ 319 w 320"/>
                  <a:gd name="T33" fmla="*/ 101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20" h="193">
                    <a:moveTo>
                      <a:pt x="319" y="101"/>
                    </a:moveTo>
                    <a:cubicBezTo>
                      <a:pt x="320" y="98"/>
                      <a:pt x="320" y="95"/>
                      <a:pt x="319" y="93"/>
                    </a:cubicBezTo>
                    <a:cubicBezTo>
                      <a:pt x="318" y="91"/>
                      <a:pt x="318" y="90"/>
                      <a:pt x="317" y="89"/>
                    </a:cubicBezTo>
                    <a:cubicBezTo>
                      <a:pt x="231" y="4"/>
                      <a:pt x="231" y="4"/>
                      <a:pt x="231" y="4"/>
                    </a:cubicBezTo>
                    <a:cubicBezTo>
                      <a:pt x="227" y="0"/>
                      <a:pt x="220" y="0"/>
                      <a:pt x="216" y="4"/>
                    </a:cubicBezTo>
                    <a:cubicBezTo>
                      <a:pt x="212" y="8"/>
                      <a:pt x="212" y="15"/>
                      <a:pt x="216" y="19"/>
                    </a:cubicBezTo>
                    <a:cubicBezTo>
                      <a:pt x="283" y="86"/>
                      <a:pt x="283" y="86"/>
                      <a:pt x="283" y="86"/>
                    </a:cubicBezTo>
                    <a:cubicBezTo>
                      <a:pt x="10" y="86"/>
                      <a:pt x="10" y="86"/>
                      <a:pt x="10" y="86"/>
                    </a:cubicBezTo>
                    <a:cubicBezTo>
                      <a:pt x="4" y="86"/>
                      <a:pt x="0" y="91"/>
                      <a:pt x="0" y="97"/>
                    </a:cubicBezTo>
                    <a:cubicBezTo>
                      <a:pt x="0" y="103"/>
                      <a:pt x="4" y="107"/>
                      <a:pt x="10" y="107"/>
                    </a:cubicBezTo>
                    <a:cubicBezTo>
                      <a:pt x="283" y="107"/>
                      <a:pt x="283" y="107"/>
                      <a:pt x="283" y="107"/>
                    </a:cubicBezTo>
                    <a:cubicBezTo>
                      <a:pt x="216" y="174"/>
                      <a:pt x="216" y="174"/>
                      <a:pt x="216" y="174"/>
                    </a:cubicBezTo>
                    <a:cubicBezTo>
                      <a:pt x="212" y="179"/>
                      <a:pt x="212" y="185"/>
                      <a:pt x="216" y="190"/>
                    </a:cubicBezTo>
                    <a:cubicBezTo>
                      <a:pt x="218" y="192"/>
                      <a:pt x="221" y="193"/>
                      <a:pt x="224" y="193"/>
                    </a:cubicBezTo>
                    <a:cubicBezTo>
                      <a:pt x="226" y="193"/>
                      <a:pt x="229" y="192"/>
                      <a:pt x="231" y="190"/>
                    </a:cubicBezTo>
                    <a:cubicBezTo>
                      <a:pt x="317" y="104"/>
                      <a:pt x="317" y="104"/>
                      <a:pt x="317" y="104"/>
                    </a:cubicBezTo>
                    <a:cubicBezTo>
                      <a:pt x="318" y="103"/>
                      <a:pt x="318" y="102"/>
                      <a:pt x="319" y="10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GB"/>
              </a:p>
            </p:txBody>
          </p:sp>
          <p:sp>
            <p:nvSpPr>
              <p:cNvPr id="23" name="Freeform 237"/>
              <p:cNvSpPr>
                <a:spLocks noEditPoints="1"/>
              </p:cNvSpPr>
              <p:nvPr/>
            </p:nvSpPr>
            <p:spPr bwMode="auto">
              <a:xfrm>
                <a:off x="3852" y="1696"/>
                <a:ext cx="340" cy="34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GB"/>
              </a:p>
            </p:txBody>
          </p:sp>
        </p:grpSp>
        <p:grpSp>
          <p:nvGrpSpPr>
            <p:cNvPr id="24" name="Group 23"/>
            <p:cNvGrpSpPr>
              <a:grpSpLocks noChangeAspect="1"/>
            </p:cNvGrpSpPr>
            <p:nvPr/>
          </p:nvGrpSpPr>
          <p:grpSpPr bwMode="auto">
            <a:xfrm flipH="1">
              <a:off x="7604506" y="4831704"/>
              <a:ext cx="481231" cy="481231"/>
              <a:chOff x="3852" y="1696"/>
              <a:chExt cx="340" cy="340"/>
            </a:xfrm>
            <a:solidFill>
              <a:schemeClr val="accent6"/>
            </a:solidFill>
          </p:grpSpPr>
          <p:sp>
            <p:nvSpPr>
              <p:cNvPr id="25" name="Freeform 236"/>
              <p:cNvSpPr>
                <a:spLocks/>
              </p:cNvSpPr>
              <p:nvPr/>
            </p:nvSpPr>
            <p:spPr bwMode="auto">
              <a:xfrm>
                <a:off x="3916" y="1802"/>
                <a:ext cx="212" cy="128"/>
              </a:xfrm>
              <a:custGeom>
                <a:avLst/>
                <a:gdLst>
                  <a:gd name="T0" fmla="*/ 319 w 320"/>
                  <a:gd name="T1" fmla="*/ 101 h 193"/>
                  <a:gd name="T2" fmla="*/ 319 w 320"/>
                  <a:gd name="T3" fmla="*/ 93 h 193"/>
                  <a:gd name="T4" fmla="*/ 317 w 320"/>
                  <a:gd name="T5" fmla="*/ 89 h 193"/>
                  <a:gd name="T6" fmla="*/ 231 w 320"/>
                  <a:gd name="T7" fmla="*/ 4 h 193"/>
                  <a:gd name="T8" fmla="*/ 216 w 320"/>
                  <a:gd name="T9" fmla="*/ 4 h 193"/>
                  <a:gd name="T10" fmla="*/ 216 w 320"/>
                  <a:gd name="T11" fmla="*/ 19 h 193"/>
                  <a:gd name="T12" fmla="*/ 283 w 320"/>
                  <a:gd name="T13" fmla="*/ 86 h 193"/>
                  <a:gd name="T14" fmla="*/ 10 w 320"/>
                  <a:gd name="T15" fmla="*/ 86 h 193"/>
                  <a:gd name="T16" fmla="*/ 0 w 320"/>
                  <a:gd name="T17" fmla="*/ 97 h 193"/>
                  <a:gd name="T18" fmla="*/ 10 w 320"/>
                  <a:gd name="T19" fmla="*/ 107 h 193"/>
                  <a:gd name="T20" fmla="*/ 283 w 320"/>
                  <a:gd name="T21" fmla="*/ 107 h 193"/>
                  <a:gd name="T22" fmla="*/ 216 w 320"/>
                  <a:gd name="T23" fmla="*/ 174 h 193"/>
                  <a:gd name="T24" fmla="*/ 216 w 320"/>
                  <a:gd name="T25" fmla="*/ 190 h 193"/>
                  <a:gd name="T26" fmla="*/ 224 w 320"/>
                  <a:gd name="T27" fmla="*/ 193 h 193"/>
                  <a:gd name="T28" fmla="*/ 231 w 320"/>
                  <a:gd name="T29" fmla="*/ 190 h 193"/>
                  <a:gd name="T30" fmla="*/ 317 w 320"/>
                  <a:gd name="T31" fmla="*/ 104 h 193"/>
                  <a:gd name="T32" fmla="*/ 319 w 320"/>
                  <a:gd name="T33" fmla="*/ 101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20" h="193">
                    <a:moveTo>
                      <a:pt x="319" y="101"/>
                    </a:moveTo>
                    <a:cubicBezTo>
                      <a:pt x="320" y="98"/>
                      <a:pt x="320" y="95"/>
                      <a:pt x="319" y="93"/>
                    </a:cubicBezTo>
                    <a:cubicBezTo>
                      <a:pt x="318" y="91"/>
                      <a:pt x="318" y="90"/>
                      <a:pt x="317" y="89"/>
                    </a:cubicBezTo>
                    <a:cubicBezTo>
                      <a:pt x="231" y="4"/>
                      <a:pt x="231" y="4"/>
                      <a:pt x="231" y="4"/>
                    </a:cubicBezTo>
                    <a:cubicBezTo>
                      <a:pt x="227" y="0"/>
                      <a:pt x="220" y="0"/>
                      <a:pt x="216" y="4"/>
                    </a:cubicBezTo>
                    <a:cubicBezTo>
                      <a:pt x="212" y="8"/>
                      <a:pt x="212" y="15"/>
                      <a:pt x="216" y="19"/>
                    </a:cubicBezTo>
                    <a:cubicBezTo>
                      <a:pt x="283" y="86"/>
                      <a:pt x="283" y="86"/>
                      <a:pt x="283" y="86"/>
                    </a:cubicBezTo>
                    <a:cubicBezTo>
                      <a:pt x="10" y="86"/>
                      <a:pt x="10" y="86"/>
                      <a:pt x="10" y="86"/>
                    </a:cubicBezTo>
                    <a:cubicBezTo>
                      <a:pt x="4" y="86"/>
                      <a:pt x="0" y="91"/>
                      <a:pt x="0" y="97"/>
                    </a:cubicBezTo>
                    <a:cubicBezTo>
                      <a:pt x="0" y="103"/>
                      <a:pt x="4" y="107"/>
                      <a:pt x="10" y="107"/>
                    </a:cubicBezTo>
                    <a:cubicBezTo>
                      <a:pt x="283" y="107"/>
                      <a:pt x="283" y="107"/>
                      <a:pt x="283" y="107"/>
                    </a:cubicBezTo>
                    <a:cubicBezTo>
                      <a:pt x="216" y="174"/>
                      <a:pt x="216" y="174"/>
                      <a:pt x="216" y="174"/>
                    </a:cubicBezTo>
                    <a:cubicBezTo>
                      <a:pt x="212" y="179"/>
                      <a:pt x="212" y="185"/>
                      <a:pt x="216" y="190"/>
                    </a:cubicBezTo>
                    <a:cubicBezTo>
                      <a:pt x="218" y="192"/>
                      <a:pt x="221" y="193"/>
                      <a:pt x="224" y="193"/>
                    </a:cubicBezTo>
                    <a:cubicBezTo>
                      <a:pt x="226" y="193"/>
                      <a:pt x="229" y="192"/>
                      <a:pt x="231" y="190"/>
                    </a:cubicBezTo>
                    <a:cubicBezTo>
                      <a:pt x="317" y="104"/>
                      <a:pt x="317" y="104"/>
                      <a:pt x="317" y="104"/>
                    </a:cubicBezTo>
                    <a:cubicBezTo>
                      <a:pt x="318" y="103"/>
                      <a:pt x="318" y="102"/>
                      <a:pt x="319" y="10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GB"/>
              </a:p>
            </p:txBody>
          </p:sp>
          <p:sp>
            <p:nvSpPr>
              <p:cNvPr id="26" name="Freeform 237"/>
              <p:cNvSpPr>
                <a:spLocks noEditPoints="1"/>
              </p:cNvSpPr>
              <p:nvPr/>
            </p:nvSpPr>
            <p:spPr bwMode="auto">
              <a:xfrm>
                <a:off x="3852" y="1696"/>
                <a:ext cx="340" cy="34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GB"/>
              </a:p>
            </p:txBody>
          </p:sp>
        </p:grpSp>
        <p:grpSp>
          <p:nvGrpSpPr>
            <p:cNvPr id="27" name="Group 26"/>
            <p:cNvGrpSpPr>
              <a:grpSpLocks noChangeAspect="1"/>
            </p:cNvGrpSpPr>
            <p:nvPr/>
          </p:nvGrpSpPr>
          <p:grpSpPr bwMode="auto">
            <a:xfrm flipH="1">
              <a:off x="4150961" y="4831703"/>
              <a:ext cx="481231" cy="481231"/>
              <a:chOff x="3852" y="1696"/>
              <a:chExt cx="340" cy="340"/>
            </a:xfrm>
            <a:solidFill>
              <a:schemeClr val="accent6"/>
            </a:solidFill>
          </p:grpSpPr>
          <p:sp>
            <p:nvSpPr>
              <p:cNvPr id="28" name="Freeform 236"/>
              <p:cNvSpPr>
                <a:spLocks/>
              </p:cNvSpPr>
              <p:nvPr/>
            </p:nvSpPr>
            <p:spPr bwMode="auto">
              <a:xfrm>
                <a:off x="3916" y="1802"/>
                <a:ext cx="212" cy="128"/>
              </a:xfrm>
              <a:custGeom>
                <a:avLst/>
                <a:gdLst>
                  <a:gd name="T0" fmla="*/ 319 w 320"/>
                  <a:gd name="T1" fmla="*/ 101 h 193"/>
                  <a:gd name="T2" fmla="*/ 319 w 320"/>
                  <a:gd name="T3" fmla="*/ 93 h 193"/>
                  <a:gd name="T4" fmla="*/ 317 w 320"/>
                  <a:gd name="T5" fmla="*/ 89 h 193"/>
                  <a:gd name="T6" fmla="*/ 231 w 320"/>
                  <a:gd name="T7" fmla="*/ 4 h 193"/>
                  <a:gd name="T8" fmla="*/ 216 w 320"/>
                  <a:gd name="T9" fmla="*/ 4 h 193"/>
                  <a:gd name="T10" fmla="*/ 216 w 320"/>
                  <a:gd name="T11" fmla="*/ 19 h 193"/>
                  <a:gd name="T12" fmla="*/ 283 w 320"/>
                  <a:gd name="T13" fmla="*/ 86 h 193"/>
                  <a:gd name="T14" fmla="*/ 10 w 320"/>
                  <a:gd name="T15" fmla="*/ 86 h 193"/>
                  <a:gd name="T16" fmla="*/ 0 w 320"/>
                  <a:gd name="T17" fmla="*/ 97 h 193"/>
                  <a:gd name="T18" fmla="*/ 10 w 320"/>
                  <a:gd name="T19" fmla="*/ 107 h 193"/>
                  <a:gd name="T20" fmla="*/ 283 w 320"/>
                  <a:gd name="T21" fmla="*/ 107 h 193"/>
                  <a:gd name="T22" fmla="*/ 216 w 320"/>
                  <a:gd name="T23" fmla="*/ 174 h 193"/>
                  <a:gd name="T24" fmla="*/ 216 w 320"/>
                  <a:gd name="T25" fmla="*/ 190 h 193"/>
                  <a:gd name="T26" fmla="*/ 224 w 320"/>
                  <a:gd name="T27" fmla="*/ 193 h 193"/>
                  <a:gd name="T28" fmla="*/ 231 w 320"/>
                  <a:gd name="T29" fmla="*/ 190 h 193"/>
                  <a:gd name="T30" fmla="*/ 317 w 320"/>
                  <a:gd name="T31" fmla="*/ 104 h 193"/>
                  <a:gd name="T32" fmla="*/ 319 w 320"/>
                  <a:gd name="T33" fmla="*/ 101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20" h="193">
                    <a:moveTo>
                      <a:pt x="319" y="101"/>
                    </a:moveTo>
                    <a:cubicBezTo>
                      <a:pt x="320" y="98"/>
                      <a:pt x="320" y="95"/>
                      <a:pt x="319" y="93"/>
                    </a:cubicBezTo>
                    <a:cubicBezTo>
                      <a:pt x="318" y="91"/>
                      <a:pt x="318" y="90"/>
                      <a:pt x="317" y="89"/>
                    </a:cubicBezTo>
                    <a:cubicBezTo>
                      <a:pt x="231" y="4"/>
                      <a:pt x="231" y="4"/>
                      <a:pt x="231" y="4"/>
                    </a:cubicBezTo>
                    <a:cubicBezTo>
                      <a:pt x="227" y="0"/>
                      <a:pt x="220" y="0"/>
                      <a:pt x="216" y="4"/>
                    </a:cubicBezTo>
                    <a:cubicBezTo>
                      <a:pt x="212" y="8"/>
                      <a:pt x="212" y="15"/>
                      <a:pt x="216" y="19"/>
                    </a:cubicBezTo>
                    <a:cubicBezTo>
                      <a:pt x="283" y="86"/>
                      <a:pt x="283" y="86"/>
                      <a:pt x="283" y="86"/>
                    </a:cubicBezTo>
                    <a:cubicBezTo>
                      <a:pt x="10" y="86"/>
                      <a:pt x="10" y="86"/>
                      <a:pt x="10" y="86"/>
                    </a:cubicBezTo>
                    <a:cubicBezTo>
                      <a:pt x="4" y="86"/>
                      <a:pt x="0" y="91"/>
                      <a:pt x="0" y="97"/>
                    </a:cubicBezTo>
                    <a:cubicBezTo>
                      <a:pt x="0" y="103"/>
                      <a:pt x="4" y="107"/>
                      <a:pt x="10" y="107"/>
                    </a:cubicBezTo>
                    <a:cubicBezTo>
                      <a:pt x="283" y="107"/>
                      <a:pt x="283" y="107"/>
                      <a:pt x="283" y="107"/>
                    </a:cubicBezTo>
                    <a:cubicBezTo>
                      <a:pt x="216" y="174"/>
                      <a:pt x="216" y="174"/>
                      <a:pt x="216" y="174"/>
                    </a:cubicBezTo>
                    <a:cubicBezTo>
                      <a:pt x="212" y="179"/>
                      <a:pt x="212" y="185"/>
                      <a:pt x="216" y="190"/>
                    </a:cubicBezTo>
                    <a:cubicBezTo>
                      <a:pt x="218" y="192"/>
                      <a:pt x="221" y="193"/>
                      <a:pt x="224" y="193"/>
                    </a:cubicBezTo>
                    <a:cubicBezTo>
                      <a:pt x="226" y="193"/>
                      <a:pt x="229" y="192"/>
                      <a:pt x="231" y="190"/>
                    </a:cubicBezTo>
                    <a:cubicBezTo>
                      <a:pt x="317" y="104"/>
                      <a:pt x="317" y="104"/>
                      <a:pt x="317" y="104"/>
                    </a:cubicBezTo>
                    <a:cubicBezTo>
                      <a:pt x="318" y="103"/>
                      <a:pt x="318" y="102"/>
                      <a:pt x="319" y="10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GB"/>
              </a:p>
            </p:txBody>
          </p:sp>
          <p:sp>
            <p:nvSpPr>
              <p:cNvPr id="29" name="Freeform 237"/>
              <p:cNvSpPr>
                <a:spLocks noEditPoints="1"/>
              </p:cNvSpPr>
              <p:nvPr/>
            </p:nvSpPr>
            <p:spPr bwMode="auto">
              <a:xfrm>
                <a:off x="3852" y="1696"/>
                <a:ext cx="340" cy="34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GB"/>
              </a:p>
            </p:txBody>
          </p:sp>
        </p:grpSp>
        <p:sp>
          <p:nvSpPr>
            <p:cNvPr id="36" name="Oval 35"/>
            <p:cNvSpPr>
              <a:spLocks noChangeAspect="1"/>
            </p:cNvSpPr>
            <p:nvPr/>
          </p:nvSpPr>
          <p:spPr bwMode="gray">
            <a:xfrm>
              <a:off x="5014564" y="1487214"/>
              <a:ext cx="2162871" cy="2162871"/>
            </a:xfrm>
            <a:prstGeom prst="ellipse">
              <a:avLst/>
            </a:prstGeom>
            <a:solidFill>
              <a:schemeClr val="accent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 algn="ctr">
                <a:buFont typeface="Wingdings 2" pitchFamily="18" charset="2"/>
                <a:buNone/>
              </a:pPr>
              <a:r>
                <a:rPr lang="en-GB" sz="4400" dirty="0">
                  <a:solidFill>
                    <a:schemeClr val="bg1"/>
                  </a:solidFill>
                </a:rPr>
                <a:t>2</a:t>
              </a:r>
            </a:p>
            <a:p>
              <a:pPr algn="ctr">
                <a:buFont typeface="Wingdings 2" pitchFamily="18" charset="2"/>
                <a:buNone/>
              </a:pPr>
              <a:r>
                <a:rPr lang="en-GB" sz="1400" dirty="0">
                  <a:solidFill>
                    <a:schemeClr val="bg1"/>
                  </a:solidFill>
                </a:rPr>
                <a:t>Business Problem</a:t>
              </a:r>
            </a:p>
          </p:txBody>
        </p:sp>
        <p:sp>
          <p:nvSpPr>
            <p:cNvPr id="37" name="Oval 36"/>
            <p:cNvSpPr>
              <a:spLocks noChangeAspect="1"/>
            </p:cNvSpPr>
            <p:nvPr/>
          </p:nvSpPr>
          <p:spPr bwMode="gray">
            <a:xfrm>
              <a:off x="8512808" y="1487212"/>
              <a:ext cx="2162871" cy="2162871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 algn="ctr">
                <a:buFont typeface="Wingdings 2" pitchFamily="18" charset="2"/>
                <a:buNone/>
              </a:pPr>
              <a:r>
                <a:rPr lang="en-GB" sz="4400" dirty="0">
                  <a:solidFill>
                    <a:schemeClr val="bg1"/>
                  </a:solidFill>
                </a:rPr>
                <a:t>3</a:t>
              </a:r>
            </a:p>
            <a:p>
              <a:pPr algn="ctr">
                <a:buFont typeface="Wingdings 2" pitchFamily="18" charset="2"/>
                <a:buNone/>
              </a:pPr>
              <a:r>
                <a:rPr lang="en-GB" sz="1400" dirty="0">
                  <a:solidFill>
                    <a:schemeClr val="bg1"/>
                  </a:solidFill>
                </a:rPr>
                <a:t>Features</a:t>
              </a:r>
            </a:p>
          </p:txBody>
        </p:sp>
        <p:sp>
          <p:nvSpPr>
            <p:cNvPr id="38" name="Oval 37"/>
            <p:cNvSpPr>
              <a:spLocks noChangeAspect="1"/>
            </p:cNvSpPr>
            <p:nvPr/>
          </p:nvSpPr>
          <p:spPr bwMode="gray">
            <a:xfrm>
              <a:off x="8512807" y="3990885"/>
              <a:ext cx="2162871" cy="2162871"/>
            </a:xfrm>
            <a:prstGeom prst="ellipse">
              <a:avLst/>
            </a:prstGeom>
            <a:solidFill>
              <a:schemeClr val="accent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 algn="ctr">
                <a:buFont typeface="Wingdings 2" pitchFamily="18" charset="2"/>
                <a:buNone/>
              </a:pPr>
              <a:r>
                <a:rPr lang="en-GB" sz="4400" dirty="0">
                  <a:solidFill>
                    <a:schemeClr val="bg1"/>
                  </a:solidFill>
                </a:rPr>
                <a:t>4</a:t>
              </a:r>
            </a:p>
            <a:p>
              <a:pPr algn="ctr">
                <a:buFont typeface="Wingdings 2" pitchFamily="18" charset="2"/>
                <a:buNone/>
              </a:pPr>
              <a:r>
                <a:rPr lang="en-GB" sz="1400" dirty="0">
                  <a:solidFill>
                    <a:schemeClr val="bg1"/>
                  </a:solidFill>
                </a:rPr>
                <a:t>Data Understanding</a:t>
              </a:r>
            </a:p>
          </p:txBody>
        </p:sp>
        <p:sp>
          <p:nvSpPr>
            <p:cNvPr id="39" name="Oval 38"/>
            <p:cNvSpPr>
              <a:spLocks noChangeAspect="1"/>
            </p:cNvSpPr>
            <p:nvPr/>
          </p:nvSpPr>
          <p:spPr bwMode="gray">
            <a:xfrm>
              <a:off x="5014564" y="3990885"/>
              <a:ext cx="2162871" cy="2162871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 algn="ctr">
                <a:buFont typeface="Wingdings 2" pitchFamily="18" charset="2"/>
                <a:buNone/>
              </a:pPr>
              <a:r>
                <a:rPr lang="en-GB" sz="4400" dirty="0">
                  <a:solidFill>
                    <a:schemeClr val="bg1"/>
                  </a:solidFill>
                </a:rPr>
                <a:t>5</a:t>
              </a:r>
            </a:p>
            <a:p>
              <a:pPr algn="ctr">
                <a:buFont typeface="Wingdings 2" pitchFamily="18" charset="2"/>
                <a:buNone/>
              </a:pPr>
              <a:r>
                <a:rPr lang="en-GB" sz="1400" dirty="0">
                  <a:solidFill>
                    <a:schemeClr val="bg1"/>
                  </a:solidFill>
                </a:rPr>
                <a:t>Modelling &amp; Evaluation</a:t>
              </a:r>
            </a:p>
          </p:txBody>
        </p:sp>
        <p:sp>
          <p:nvSpPr>
            <p:cNvPr id="40" name="Oval 39"/>
            <p:cNvSpPr>
              <a:spLocks noChangeAspect="1"/>
            </p:cNvSpPr>
            <p:nvPr/>
          </p:nvSpPr>
          <p:spPr bwMode="gray">
            <a:xfrm>
              <a:off x="1516320" y="3990885"/>
              <a:ext cx="2162871" cy="2162871"/>
            </a:xfrm>
            <a:prstGeom prst="ellipse">
              <a:avLst/>
            </a:prstGeom>
            <a:solidFill>
              <a:schemeClr val="accent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 algn="ctr">
                <a:buFont typeface="Wingdings 2" pitchFamily="18" charset="2"/>
                <a:buNone/>
              </a:pPr>
              <a:r>
                <a:rPr lang="en-GB" sz="4400" dirty="0">
                  <a:solidFill>
                    <a:schemeClr val="bg1"/>
                  </a:solidFill>
                </a:rPr>
                <a:t>6</a:t>
              </a:r>
            </a:p>
            <a:p>
              <a:pPr algn="ctr">
                <a:buFont typeface="Wingdings 2" pitchFamily="18" charset="2"/>
                <a:buNone/>
              </a:pPr>
              <a:r>
                <a:rPr lang="en-GB" sz="1400" dirty="0">
                  <a:solidFill>
                    <a:schemeClr val="bg1"/>
                  </a:solidFill>
                </a:rPr>
                <a:t>Conclus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1738809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siness Understanding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B26C816-5E77-4998-87B9-ECA4CFD85A1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40" b="43925"/>
          <a:stretch/>
        </p:blipFill>
        <p:spPr>
          <a:xfrm>
            <a:off x="838200" y="2965470"/>
            <a:ext cx="6404163" cy="1325563"/>
          </a:xfrm>
          <a:prstGeom prst="rect">
            <a:avLst/>
          </a:prstGeom>
        </p:spPr>
      </p:pic>
      <p:pic>
        <p:nvPicPr>
          <p:cNvPr id="1026" name="Picture 2" descr="Infographic: Where It’s Hardest to Afford a Home | Statista">
            <a:extLst>
              <a:ext uri="{FF2B5EF4-FFF2-40B4-BE49-F238E27FC236}">
                <a16:creationId xmlns:a16="http://schemas.microsoft.com/office/drawing/2014/main" id="{0E9D8153-D121-4386-8ECE-7DA265BDD1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0112" y="2690194"/>
            <a:ext cx="3484034" cy="3484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7F69BE7-C5F3-43D2-81DD-B49DADAF456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8200" y="1302088"/>
            <a:ext cx="10715946" cy="118057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CCA760E5-52EC-4ABF-8397-D46E0AD26510}"/>
              </a:ext>
            </a:extLst>
          </p:cNvPr>
          <p:cNvSpPr txBox="1"/>
          <p:nvPr/>
        </p:nvSpPr>
        <p:spPr>
          <a:xfrm>
            <a:off x="838200" y="4773845"/>
            <a:ext cx="6095144" cy="14003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2000" dirty="0">
                <a:solidFill>
                  <a:schemeClr val="accent1"/>
                </a:solidFill>
              </a:rPr>
              <a:t>“It’s misleading, it’s a fraud on purchasers. And until significant penalties are handed out, regulations have been ineffective … if one does it, others have to follow.”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2000" dirty="0">
                <a:solidFill>
                  <a:schemeClr val="accent1"/>
                </a:solidFill>
              </a:rPr>
              <a:t>- David Morrel, buyer’s advocate </a:t>
            </a:r>
          </a:p>
        </p:txBody>
      </p:sp>
    </p:spTree>
    <p:extLst>
      <p:ext uri="{BB962C8B-B14F-4D97-AF65-F5344CB8AC3E}">
        <p14:creationId xmlns:p14="http://schemas.microsoft.com/office/powerpoint/2010/main" val="4457350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6F1BDB45-D34C-440E-8D6D-9BBEB2C4AE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US" dirty="0"/>
              <a:t>Business Problem</a:t>
            </a:r>
          </a:p>
        </p:txBody>
      </p:sp>
      <p:graphicFrame>
        <p:nvGraphicFramePr>
          <p:cNvPr id="5" name="Content Placeholder 6">
            <a:extLst>
              <a:ext uri="{FF2B5EF4-FFF2-40B4-BE49-F238E27FC236}">
                <a16:creationId xmlns:a16="http://schemas.microsoft.com/office/drawing/2014/main" id="{AF1564C8-DFB2-488E-A1C1-E29D3519CFC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49822736"/>
              </p:ext>
            </p:extLst>
          </p:nvPr>
        </p:nvGraphicFramePr>
        <p:xfrm>
          <a:off x="6234694" y="1727799"/>
          <a:ext cx="5119106" cy="43594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191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5949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86BC2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Objectiv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Develop a model for these potential homeowners that: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Determines the true price of a property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Aids in locating homes that fit the buyer’s requirement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Figures out which homes are sold at a discoun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86BC25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91510" marR="91510" marT="137160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6" name="Content Placeholder 6">
            <a:extLst>
              <a:ext uri="{FF2B5EF4-FFF2-40B4-BE49-F238E27FC236}">
                <a16:creationId xmlns:a16="http://schemas.microsoft.com/office/drawing/2014/main" id="{370830CC-F79E-4099-B451-36646DB30E8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61440583"/>
              </p:ext>
            </p:extLst>
          </p:nvPr>
        </p:nvGraphicFramePr>
        <p:xfrm>
          <a:off x="838200" y="1727799"/>
          <a:ext cx="5171090" cy="43594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710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5949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86BC2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Problem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Potential buyers are having difficulties buying or renting Australian properties.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Historical trend of rising price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Rampant underquoting</a:t>
                      </a:r>
                      <a:b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</a:br>
                      <a:endParaRPr kumimoji="0" lang="en-US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86BC25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91510" marR="91510" marT="137160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65727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s</a:t>
            </a:r>
          </a:p>
        </p:txBody>
      </p:sp>
      <p:sp>
        <p:nvSpPr>
          <p:cNvPr id="5" name="Pentagon 23">
            <a:extLst>
              <a:ext uri="{FF2B5EF4-FFF2-40B4-BE49-F238E27FC236}">
                <a16:creationId xmlns:a16="http://schemas.microsoft.com/office/drawing/2014/main" id="{A53ABE99-26E0-4132-98F6-2666C12633A6}"/>
              </a:ext>
            </a:extLst>
          </p:cNvPr>
          <p:cNvSpPr/>
          <p:nvPr/>
        </p:nvSpPr>
        <p:spPr bwMode="gray">
          <a:xfrm>
            <a:off x="1699705" y="1690688"/>
            <a:ext cx="3678240" cy="822960"/>
          </a:xfrm>
          <a:prstGeom prst="homePlate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000" dirty="0"/>
              <a:t>1	Building Size</a:t>
            </a:r>
          </a:p>
        </p:txBody>
      </p:sp>
      <p:sp>
        <p:nvSpPr>
          <p:cNvPr id="6" name="Pentagon 25">
            <a:extLst>
              <a:ext uri="{FF2B5EF4-FFF2-40B4-BE49-F238E27FC236}">
                <a16:creationId xmlns:a16="http://schemas.microsoft.com/office/drawing/2014/main" id="{8AF49EF3-1ED3-454B-B310-783CB5F4A2A0}"/>
              </a:ext>
            </a:extLst>
          </p:cNvPr>
          <p:cNvSpPr/>
          <p:nvPr/>
        </p:nvSpPr>
        <p:spPr bwMode="gray">
          <a:xfrm>
            <a:off x="1694712" y="2834912"/>
            <a:ext cx="3678240" cy="822960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000" dirty="0"/>
              <a:t>3	Bedrooms</a:t>
            </a:r>
          </a:p>
        </p:txBody>
      </p:sp>
      <p:sp>
        <p:nvSpPr>
          <p:cNvPr id="8" name="Pentagon 27">
            <a:extLst>
              <a:ext uri="{FF2B5EF4-FFF2-40B4-BE49-F238E27FC236}">
                <a16:creationId xmlns:a16="http://schemas.microsoft.com/office/drawing/2014/main" id="{E6937158-1483-4BEF-967A-5F78E80F0FF1}"/>
              </a:ext>
            </a:extLst>
          </p:cNvPr>
          <p:cNvSpPr/>
          <p:nvPr/>
        </p:nvSpPr>
        <p:spPr bwMode="gray">
          <a:xfrm>
            <a:off x="7308112" y="2834912"/>
            <a:ext cx="3678240" cy="822960"/>
          </a:xfrm>
          <a:prstGeom prst="homePlate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000" dirty="0"/>
              <a:t>4	Bathrooms</a:t>
            </a:r>
          </a:p>
        </p:txBody>
      </p:sp>
      <p:sp>
        <p:nvSpPr>
          <p:cNvPr id="9" name="Pentagon 29">
            <a:extLst>
              <a:ext uri="{FF2B5EF4-FFF2-40B4-BE49-F238E27FC236}">
                <a16:creationId xmlns:a16="http://schemas.microsoft.com/office/drawing/2014/main" id="{13417ED7-BA8C-4F76-B9D8-FE5F0B008E99}"/>
              </a:ext>
            </a:extLst>
          </p:cNvPr>
          <p:cNvSpPr/>
          <p:nvPr/>
        </p:nvSpPr>
        <p:spPr bwMode="gray">
          <a:xfrm>
            <a:off x="7308112" y="1691912"/>
            <a:ext cx="3678240" cy="82296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000" dirty="0"/>
              <a:t>2 	Land Size</a:t>
            </a:r>
          </a:p>
        </p:txBody>
      </p:sp>
      <p:sp>
        <p:nvSpPr>
          <p:cNvPr id="10" name="Pentagon 23">
            <a:extLst>
              <a:ext uri="{FF2B5EF4-FFF2-40B4-BE49-F238E27FC236}">
                <a16:creationId xmlns:a16="http://schemas.microsoft.com/office/drawing/2014/main" id="{6A91AD8F-3699-4D55-A2A7-6DD1A9DB520B}"/>
              </a:ext>
            </a:extLst>
          </p:cNvPr>
          <p:cNvSpPr/>
          <p:nvPr/>
        </p:nvSpPr>
        <p:spPr bwMode="gray">
          <a:xfrm>
            <a:off x="1694712" y="3977912"/>
            <a:ext cx="3678240" cy="822960"/>
          </a:xfrm>
          <a:prstGeom prst="homePlat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000" dirty="0"/>
              <a:t>5	Parking Spaces</a:t>
            </a:r>
          </a:p>
        </p:txBody>
      </p:sp>
      <p:sp>
        <p:nvSpPr>
          <p:cNvPr id="11" name="Pentagon 25">
            <a:extLst>
              <a:ext uri="{FF2B5EF4-FFF2-40B4-BE49-F238E27FC236}">
                <a16:creationId xmlns:a16="http://schemas.microsoft.com/office/drawing/2014/main" id="{CB5F792C-79CD-4934-A38F-15D53EC91536}"/>
              </a:ext>
            </a:extLst>
          </p:cNvPr>
          <p:cNvSpPr/>
          <p:nvPr/>
        </p:nvSpPr>
        <p:spPr bwMode="gray">
          <a:xfrm>
            <a:off x="4256880" y="5120912"/>
            <a:ext cx="3678240" cy="822960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000" dirty="0"/>
              <a:t>7	Product Depth</a:t>
            </a:r>
          </a:p>
        </p:txBody>
      </p:sp>
      <p:sp>
        <p:nvSpPr>
          <p:cNvPr id="13" name="Pentagon 29">
            <a:extLst>
              <a:ext uri="{FF2B5EF4-FFF2-40B4-BE49-F238E27FC236}">
                <a16:creationId xmlns:a16="http://schemas.microsoft.com/office/drawing/2014/main" id="{D1E6B5BD-0CB8-491D-A751-2D76612B2609}"/>
              </a:ext>
            </a:extLst>
          </p:cNvPr>
          <p:cNvSpPr/>
          <p:nvPr/>
        </p:nvSpPr>
        <p:spPr bwMode="gray">
          <a:xfrm>
            <a:off x="7308112" y="3977912"/>
            <a:ext cx="3678240" cy="822960"/>
          </a:xfrm>
          <a:prstGeom prst="homePlate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000" dirty="0"/>
              <a:t>6	Property Type</a:t>
            </a:r>
          </a:p>
        </p:txBody>
      </p:sp>
    </p:spTree>
    <p:extLst>
      <p:ext uri="{BB962C8B-B14F-4D97-AF65-F5344CB8AC3E}">
        <p14:creationId xmlns:p14="http://schemas.microsoft.com/office/powerpoint/2010/main" val="34469237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Understanding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9EE7346-1E97-49A0-861F-3403DBED3492}"/>
              </a:ext>
            </a:extLst>
          </p:cNvPr>
          <p:cNvGrpSpPr/>
          <p:nvPr/>
        </p:nvGrpSpPr>
        <p:grpSpPr>
          <a:xfrm>
            <a:off x="528000" y="1690688"/>
            <a:ext cx="11136000" cy="3770561"/>
            <a:chOff x="2340405" y="1977382"/>
            <a:chExt cx="7437008" cy="3065971"/>
          </a:xfrm>
        </p:grpSpPr>
        <p:sp>
          <p:nvSpPr>
            <p:cNvPr id="6" name="Rectangle 3">
              <a:extLst>
                <a:ext uri="{FF2B5EF4-FFF2-40B4-BE49-F238E27FC236}">
                  <a16:creationId xmlns:a16="http://schemas.microsoft.com/office/drawing/2014/main" id="{F69EFB87-1559-4143-BF0E-6CEA04F311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5909" y="2833045"/>
              <a:ext cx="2286000" cy="755650"/>
            </a:xfrm>
            <a:prstGeom prst="rect">
              <a:avLst/>
            </a:prstGeom>
            <a:solidFill>
              <a:schemeClr val="accent2"/>
            </a:solidFill>
            <a:ln w="12700">
              <a:noFill/>
              <a:miter lim="800000"/>
              <a:headEnd/>
              <a:tailEnd/>
            </a:ln>
          </p:spPr>
          <p:txBody>
            <a:bodyPr lIns="91440" tIns="91440" rIns="91440" bIns="91440" anchor="ctr"/>
            <a:lstStyle/>
            <a:p>
              <a:pPr algn="ctr" defTabSz="865188">
                <a:defRPr/>
              </a:pPr>
              <a:r>
                <a:rPr lang="en-US" sz="2400" dirty="0">
                  <a:solidFill>
                    <a:schemeClr val="bg1"/>
                  </a:solidFill>
                  <a:ea typeface="ＭＳ Ｐゴシック" pitchFamily="50" charset="-128"/>
                </a:rPr>
                <a:t>Cleaned &amp; Imputed</a:t>
              </a:r>
              <a:endParaRPr lang="en-US" sz="20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8" name="Rectangle 4">
              <a:extLst>
                <a:ext uri="{FF2B5EF4-FFF2-40B4-BE49-F238E27FC236}">
                  <a16:creationId xmlns:a16="http://schemas.microsoft.com/office/drawing/2014/main" id="{9FA0701B-25A0-4324-B82A-744DBE4CE7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91413" y="1977382"/>
              <a:ext cx="2286000" cy="755650"/>
            </a:xfrm>
            <a:prstGeom prst="rect">
              <a:avLst/>
            </a:prstGeom>
            <a:solidFill>
              <a:schemeClr val="accent5"/>
            </a:solidFill>
            <a:ln w="12700">
              <a:noFill/>
              <a:miter lim="800000"/>
              <a:headEnd/>
              <a:tailEnd/>
            </a:ln>
          </p:spPr>
          <p:txBody>
            <a:bodyPr lIns="91440" tIns="91440" rIns="91440" bIns="91440" anchor="ctr"/>
            <a:lstStyle/>
            <a:p>
              <a:pPr algn="ctr" defTabSz="865188">
                <a:defRPr/>
              </a:pPr>
              <a:r>
                <a:rPr lang="en-US" sz="2400" dirty="0">
                  <a:solidFill>
                    <a:schemeClr val="bg1"/>
                  </a:solidFill>
                  <a:ea typeface="ＭＳ Ｐゴシック" pitchFamily="50" charset="-128"/>
                </a:rPr>
                <a:t>Outlier Control</a:t>
              </a:r>
              <a:endParaRPr lang="en-US" sz="20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9" name="Rectangle 5">
              <a:extLst>
                <a:ext uri="{FF2B5EF4-FFF2-40B4-BE49-F238E27FC236}">
                  <a16:creationId xmlns:a16="http://schemas.microsoft.com/office/drawing/2014/main" id="{5804B5B9-3C10-4241-8442-CBB5EF6760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40405" y="3688707"/>
              <a:ext cx="2286000" cy="75565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</p:spPr>
          <p:txBody>
            <a:bodyPr lIns="91440" tIns="91440" rIns="91440" bIns="91440" anchor="ctr"/>
            <a:lstStyle/>
            <a:p>
              <a:pPr algn="ctr" defTabSz="865188">
                <a:defRPr/>
              </a:pPr>
              <a:r>
                <a:rPr lang="en-US" sz="2400" dirty="0">
                  <a:solidFill>
                    <a:schemeClr val="bg1"/>
                  </a:solidFill>
                  <a:ea typeface="ＭＳ Ｐゴシック" pitchFamily="50" charset="-128"/>
                </a:rPr>
                <a:t>Original</a:t>
              </a:r>
              <a:endParaRPr lang="en-US" sz="14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cxnSp>
          <p:nvCxnSpPr>
            <p:cNvPr id="10" name="AutoShape 6">
              <a:extLst>
                <a:ext uri="{FF2B5EF4-FFF2-40B4-BE49-F238E27FC236}">
                  <a16:creationId xmlns:a16="http://schemas.microsoft.com/office/drawing/2014/main" id="{AC83E300-2176-46A6-A385-1CFA05921ECF}"/>
                </a:ext>
              </a:extLst>
            </p:cNvPr>
            <p:cNvCxnSpPr>
              <a:cxnSpLocks noChangeShapeType="1"/>
              <a:stCxn id="9" idx="0"/>
              <a:endCxn id="6" idx="1"/>
            </p:cNvCxnSpPr>
            <p:nvPr/>
          </p:nvCxnSpPr>
          <p:spPr bwMode="auto">
            <a:xfrm rot="5400000" flipH="1" flipV="1">
              <a:off x="3960740" y="2733537"/>
              <a:ext cx="477837" cy="1432504"/>
            </a:xfrm>
            <a:prstGeom prst="bentConnector2">
              <a:avLst/>
            </a:prstGeom>
            <a:noFill/>
            <a:ln w="6350">
              <a:solidFill>
                <a:schemeClr val="tx1"/>
              </a:solidFill>
              <a:miter lim="800000"/>
              <a:headEnd/>
              <a:tailEnd type="triangle" w="med" len="med"/>
            </a:ln>
          </p:spPr>
        </p:cxnSp>
        <p:cxnSp>
          <p:nvCxnSpPr>
            <p:cNvPr id="11" name="AutoShape 7">
              <a:extLst>
                <a:ext uri="{FF2B5EF4-FFF2-40B4-BE49-F238E27FC236}">
                  <a16:creationId xmlns:a16="http://schemas.microsoft.com/office/drawing/2014/main" id="{92097C51-7483-436E-870A-F7D8A7E13A56}"/>
                </a:ext>
              </a:extLst>
            </p:cNvPr>
            <p:cNvCxnSpPr>
              <a:cxnSpLocks noChangeShapeType="1"/>
              <a:stCxn id="6" idx="0"/>
              <a:endCxn id="8" idx="1"/>
            </p:cNvCxnSpPr>
            <p:nvPr/>
          </p:nvCxnSpPr>
          <p:spPr bwMode="auto">
            <a:xfrm rot="5400000" flipH="1" flipV="1">
              <a:off x="6536242" y="1877874"/>
              <a:ext cx="477838" cy="1432504"/>
            </a:xfrm>
            <a:prstGeom prst="bentConnector2">
              <a:avLst/>
            </a:prstGeom>
            <a:noFill/>
            <a:ln w="6350">
              <a:solidFill>
                <a:schemeClr val="tx1"/>
              </a:solidFill>
              <a:miter lim="800000"/>
              <a:headEnd/>
              <a:tailEnd type="triangle" w="med" len="med"/>
            </a:ln>
          </p:spPr>
        </p:cxn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44B27E21-8D28-4A9F-B9B2-F0FE63A59337}"/>
                </a:ext>
              </a:extLst>
            </p:cNvPr>
            <p:cNvSpPr txBox="1"/>
            <p:nvPr/>
          </p:nvSpPr>
          <p:spPr>
            <a:xfrm>
              <a:off x="2340405" y="4480260"/>
              <a:ext cx="2286000" cy="56309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85750" indent="-285750">
                <a:spcBef>
                  <a:spcPts val="6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2000" dirty="0"/>
                <a:t>Public dataset on Kaggle</a:t>
              </a:r>
            </a:p>
            <a:p>
              <a:pPr marL="285750" indent="-285750">
                <a:spcBef>
                  <a:spcPts val="6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2000" dirty="0"/>
                <a:t>1000 housing listing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1D53E2C-51A2-40A4-B44B-C928645F5FE1}"/>
                </a:ext>
              </a:extLst>
            </p:cNvPr>
            <p:cNvSpPr txBox="1"/>
            <p:nvPr/>
          </p:nvSpPr>
          <p:spPr>
            <a:xfrm>
              <a:off x="4915909" y="3618350"/>
              <a:ext cx="2286000" cy="56309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85750" indent="-285750">
                <a:spcBef>
                  <a:spcPts val="6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2000" dirty="0"/>
                <a:t>Data cleaning and imputation</a:t>
              </a:r>
            </a:p>
            <a:p>
              <a:pPr marL="285750" indent="-285750">
                <a:spcBef>
                  <a:spcPts val="6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2000" dirty="0"/>
                <a:t>934 remaining observations</a:t>
              </a:r>
              <a:endParaRPr lang="en-US" sz="2400" dirty="0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7FBB559-05F6-4637-BE23-476F5E3AA190}"/>
                </a:ext>
              </a:extLst>
            </p:cNvPr>
            <p:cNvSpPr txBox="1"/>
            <p:nvPr/>
          </p:nvSpPr>
          <p:spPr>
            <a:xfrm>
              <a:off x="7491413" y="2767284"/>
              <a:ext cx="2286000" cy="81335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85750" indent="-285750">
                <a:spcBef>
                  <a:spcPts val="6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2000" dirty="0"/>
                <a:t>Remove extreme values in price, land &amp; building size</a:t>
              </a:r>
            </a:p>
            <a:p>
              <a:pPr marL="285750" indent="-285750">
                <a:spcBef>
                  <a:spcPts val="6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2000" dirty="0"/>
                <a:t>843 remaining listing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277649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Understanding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ABBADAF0-ABC3-43B4-904C-16BE4C83CE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4997" y="1368498"/>
            <a:ext cx="8242005" cy="4121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F7BE681-0F7E-441B-A4C0-C66BC67C15DF}"/>
              </a:ext>
            </a:extLst>
          </p:cNvPr>
          <p:cNvSpPr txBox="1"/>
          <p:nvPr/>
        </p:nvSpPr>
        <p:spPr>
          <a:xfrm>
            <a:off x="3645194" y="5489501"/>
            <a:ext cx="49016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igure 1: Median housing prices by property type.</a:t>
            </a:r>
          </a:p>
        </p:txBody>
      </p:sp>
    </p:spTree>
    <p:extLst>
      <p:ext uri="{BB962C8B-B14F-4D97-AF65-F5344CB8AC3E}">
        <p14:creationId xmlns:p14="http://schemas.microsoft.com/office/powerpoint/2010/main" val="23317449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Understanding</a:t>
            </a:r>
          </a:p>
        </p:txBody>
      </p:sp>
      <p:pic>
        <p:nvPicPr>
          <p:cNvPr id="3076" name="Picture 4">
            <a:extLst>
              <a:ext uri="{FF2B5EF4-FFF2-40B4-BE49-F238E27FC236}">
                <a16:creationId xmlns:a16="http://schemas.microsoft.com/office/drawing/2014/main" id="{5653A1E5-0F2B-4446-9448-4B018C8C62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4370" y="1293185"/>
            <a:ext cx="8543260" cy="42716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E6DC4CC-4201-4EC6-923B-58BF5E3F994C}"/>
              </a:ext>
            </a:extLst>
          </p:cNvPr>
          <p:cNvSpPr txBox="1"/>
          <p:nvPr/>
        </p:nvSpPr>
        <p:spPr>
          <a:xfrm>
            <a:off x="3580513" y="5489501"/>
            <a:ext cx="50309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igure 2: Housing prices over number of bedrooms.</a:t>
            </a:r>
          </a:p>
        </p:txBody>
      </p:sp>
    </p:spTree>
    <p:extLst>
      <p:ext uri="{BB962C8B-B14F-4D97-AF65-F5344CB8AC3E}">
        <p14:creationId xmlns:p14="http://schemas.microsoft.com/office/powerpoint/2010/main" val="12755436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Understanding</a:t>
            </a:r>
          </a:p>
        </p:txBody>
      </p:sp>
      <p:graphicFrame>
        <p:nvGraphicFramePr>
          <p:cNvPr id="4" name="Group 3">
            <a:extLst>
              <a:ext uri="{FF2B5EF4-FFF2-40B4-BE49-F238E27FC236}">
                <a16:creationId xmlns:a16="http://schemas.microsoft.com/office/drawing/2014/main" id="{6C115E88-0443-4B2A-8B46-7E2E02464DCB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1428431"/>
              </p:ext>
            </p:extLst>
          </p:nvPr>
        </p:nvGraphicFramePr>
        <p:xfrm>
          <a:off x="2364377" y="1690688"/>
          <a:ext cx="7463244" cy="3553097"/>
        </p:xfrm>
        <a:graphic>
          <a:graphicData uri="http://schemas.openxmlformats.org/drawingml/2006/table">
            <a:tbl>
              <a:tblPr/>
              <a:tblGrid>
                <a:gridCol w="23632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500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500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93889">
                <a:tc>
                  <a:txBody>
                    <a:bodyPr/>
                    <a:lstStyle/>
                    <a:p>
                      <a:pPr algn="l"/>
                      <a:endParaRPr lang="en-US" sz="2000" b="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0" dirty="0">
                          <a:solidFill>
                            <a:schemeClr val="accent1"/>
                          </a:solidFill>
                        </a:rPr>
                        <a:t>Median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0" dirty="0">
                          <a:solidFill>
                            <a:schemeClr val="accent1"/>
                          </a:solidFill>
                        </a:rPr>
                        <a:t>IQR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9868">
                <a:tc>
                  <a:txBody>
                    <a:bodyPr/>
                    <a:lstStyle/>
                    <a:p>
                      <a:pPr algn="l"/>
                      <a:r>
                        <a:rPr lang="en-US" sz="2000" b="0" dirty="0">
                          <a:solidFill>
                            <a:schemeClr val="dk1"/>
                          </a:solidFill>
                          <a:effectLst/>
                        </a:rPr>
                        <a:t>Building Size (m</a:t>
                      </a:r>
                      <a:r>
                        <a:rPr lang="en-US" sz="2000" b="0" baseline="30000" dirty="0">
                          <a:solidFill>
                            <a:schemeClr val="dk1"/>
                          </a:solidFill>
                          <a:effectLst/>
                        </a:rPr>
                        <a:t>2</a:t>
                      </a:r>
                      <a:r>
                        <a:rPr lang="en-US" sz="2000" b="0" baseline="0" dirty="0">
                          <a:solidFill>
                            <a:schemeClr val="dk1"/>
                          </a:solidFill>
                          <a:effectLst/>
                        </a:rPr>
                        <a:t>)</a:t>
                      </a:r>
                      <a:endParaRPr lang="en-US" sz="2000" b="0" dirty="0">
                        <a:solidFill>
                          <a:schemeClr val="dk1"/>
                        </a:solidFill>
                        <a:effectLst/>
                      </a:endParaRP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147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103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09868">
                <a:tc>
                  <a:txBody>
                    <a:bodyPr/>
                    <a:lstStyle/>
                    <a:p>
                      <a:pPr algn="l"/>
                      <a:r>
                        <a:rPr lang="en-US" sz="2000" b="0" dirty="0">
                          <a:solidFill>
                            <a:schemeClr val="dk1"/>
                          </a:solidFill>
                          <a:effectLst/>
                        </a:rPr>
                        <a:t>Land Size (m</a:t>
                      </a:r>
                      <a:r>
                        <a:rPr lang="en-US" sz="2000" b="0" baseline="30000" dirty="0">
                          <a:solidFill>
                            <a:schemeClr val="dk1"/>
                          </a:solidFill>
                          <a:effectLst/>
                        </a:rPr>
                        <a:t>2</a:t>
                      </a:r>
                      <a:r>
                        <a:rPr lang="en-US" sz="2000" b="0" baseline="0" dirty="0">
                          <a:solidFill>
                            <a:schemeClr val="dk1"/>
                          </a:solidFill>
                          <a:effectLst/>
                        </a:rPr>
                        <a:t>)</a:t>
                      </a:r>
                      <a:endParaRPr lang="en-US" sz="2000" b="0" dirty="0">
                        <a:solidFill>
                          <a:schemeClr val="dk1"/>
                        </a:solidFill>
                        <a:effectLst/>
                      </a:endParaRP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294.5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650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9868">
                <a:tc>
                  <a:txBody>
                    <a:bodyPr/>
                    <a:lstStyle/>
                    <a:p>
                      <a:pPr algn="l"/>
                      <a:r>
                        <a:rPr lang="en-US" sz="2000" b="0" dirty="0">
                          <a:solidFill>
                            <a:schemeClr val="dk1"/>
                          </a:solidFill>
                          <a:effectLst/>
                        </a:rPr>
                        <a:t>Bedrooms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3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1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09868">
                <a:tc>
                  <a:txBody>
                    <a:bodyPr/>
                    <a:lstStyle/>
                    <a:p>
                      <a:pPr algn="l"/>
                      <a:r>
                        <a:rPr lang="en-US" sz="2000" b="0" dirty="0">
                          <a:solidFill>
                            <a:schemeClr val="dk1"/>
                          </a:solidFill>
                          <a:effectLst/>
                        </a:rPr>
                        <a:t>Bathrooms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2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1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09868">
                <a:tc>
                  <a:txBody>
                    <a:bodyPr/>
                    <a:lstStyle/>
                    <a:p>
                      <a:pPr algn="l"/>
                      <a:r>
                        <a:rPr lang="en-US" sz="2000" b="0" dirty="0">
                          <a:solidFill>
                            <a:schemeClr val="dk1"/>
                          </a:solidFill>
                          <a:effectLst/>
                        </a:rPr>
                        <a:t>Parking Spaces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2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1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09868">
                <a:tc>
                  <a:txBody>
                    <a:bodyPr/>
                    <a:lstStyle/>
                    <a:p>
                      <a:pPr algn="l"/>
                      <a:r>
                        <a:rPr lang="en-US" sz="2000" b="0" dirty="0">
                          <a:solidFill>
                            <a:schemeClr val="dk1"/>
                          </a:solidFill>
                          <a:effectLst/>
                        </a:rPr>
                        <a:t>Price (AUD)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485,000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177,500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D70EACB8-D6C6-416A-82E2-C4CDCE1D0899}"/>
              </a:ext>
            </a:extLst>
          </p:cNvPr>
          <p:cNvSpPr txBox="1"/>
          <p:nvPr/>
        </p:nvSpPr>
        <p:spPr>
          <a:xfrm>
            <a:off x="3580513" y="5489501"/>
            <a:ext cx="50309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able 1: Descriptive statistics of features and target.</a:t>
            </a:r>
          </a:p>
        </p:txBody>
      </p:sp>
    </p:spTree>
    <p:extLst>
      <p:ext uri="{BB962C8B-B14F-4D97-AF65-F5344CB8AC3E}">
        <p14:creationId xmlns:p14="http://schemas.microsoft.com/office/powerpoint/2010/main" val="25678177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heme/theme1.xml><?xml version="1.0" encoding="utf-8"?>
<a:theme xmlns:a="http://schemas.openxmlformats.org/drawingml/2006/main" name="Office Theme">
  <a:themeElements>
    <a:clrScheme name="Deloitte US Color1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loitte 16_9 onscreen</Template>
  <TotalTime>3264</TotalTime>
  <Words>735</Words>
  <Application>Microsoft Office PowerPoint</Application>
  <PresentationFormat>Widescreen</PresentationFormat>
  <Paragraphs>135</Paragraphs>
  <Slides>11</Slides>
  <Notes>7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6" baseType="lpstr">
      <vt:lpstr>Arial</vt:lpstr>
      <vt:lpstr>Calibri</vt:lpstr>
      <vt:lpstr>Calibri Light</vt:lpstr>
      <vt:lpstr>Wingdings 2</vt:lpstr>
      <vt:lpstr>Office Theme</vt:lpstr>
      <vt:lpstr>Home in the Outback: Predicting Housing Prices in Australia Andrew Yang</vt:lpstr>
      <vt:lpstr>PowerPoint Presentation</vt:lpstr>
      <vt:lpstr>Business Understanding</vt:lpstr>
      <vt:lpstr>Business Problem</vt:lpstr>
      <vt:lpstr>Features</vt:lpstr>
      <vt:lpstr>Data Understanding</vt:lpstr>
      <vt:lpstr>Data Understanding</vt:lpstr>
      <vt:lpstr>Data Understanding</vt:lpstr>
      <vt:lpstr>Data Understanding</vt:lpstr>
      <vt:lpstr>Modeling &amp; Evaluation</vt:lpstr>
      <vt:lpstr>Conclus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me in the Outback: Predicting Housing Prices in Australia Andrew Yang</dc:title>
  <dc:creator>Yang, Andrew</dc:creator>
  <cp:lastModifiedBy>Yang, Andrew</cp:lastModifiedBy>
  <cp:revision>22</cp:revision>
  <dcterms:created xsi:type="dcterms:W3CDTF">2023-01-10T16:39:43Z</dcterms:created>
  <dcterms:modified xsi:type="dcterms:W3CDTF">2023-01-29T20:58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3-01-10T16:39:43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65652baf-d79b-4444-89b5-b63ec08e8d15</vt:lpwstr>
  </property>
  <property fmtid="{D5CDD505-2E9C-101B-9397-08002B2CF9AE}" pid="8" name="MSIP_Label_ea60d57e-af5b-4752-ac57-3e4f28ca11dc_ContentBits">
    <vt:lpwstr>0</vt:lpwstr>
  </property>
</Properties>
</file>